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68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7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3.xml"/><Relationship Id="rId4" Type="http://schemas.openxmlformats.org/officeDocument/2006/relationships/image" Target="../media/image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5105CF-6585-0161-5DFD-8777E95E2A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46F86BE5-8967-F060-575F-133763777D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F86BE5-8967-F060-575F-133763777D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02EB4A6-B0E8-F31E-CD64-8BA36FACD8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77E7B3C-CAC3-9AFD-90C2-893240F1C14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PH"/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F2CF2E27-498B-DC47-B031-31AA067E68D9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13" name="Shape0_20210625_174740">
            <a:extLst>
              <a:ext uri="{FF2B5EF4-FFF2-40B4-BE49-F238E27FC236}">
                <a16:creationId xmlns:a16="http://schemas.microsoft.com/office/drawing/2014/main" id="{2C1B5A77-74A6-EDE3-4A68-577A17D4E1CD}"/>
              </a:ext>
            </a:extLst>
          </p:cNvPr>
          <p:cNvCxnSpPr>
            <a:cxnSpLocks/>
          </p:cNvCxnSpPr>
          <p:nvPr/>
        </p:nvCxnSpPr>
        <p:spPr>
          <a:xfrm>
            <a:off x="4265335" y="2176410"/>
            <a:ext cx="0" cy="414734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hape0_20220512_134702">
            <a:extLst>
              <a:ext uri="{FF2B5EF4-FFF2-40B4-BE49-F238E27FC236}">
                <a16:creationId xmlns:a16="http://schemas.microsoft.com/office/drawing/2014/main" id="{96CE1BED-5C52-884C-3D6D-C974C22B8FD0}"/>
              </a:ext>
            </a:extLst>
          </p:cNvPr>
          <p:cNvSpPr/>
          <p:nvPr/>
        </p:nvSpPr>
        <p:spPr>
          <a:xfrm>
            <a:off x="812446" y="1299482"/>
            <a:ext cx="3352935" cy="6037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71" b="1" dirty="0">
                <a:solidFill>
                  <a:srgbClr val="F8F8F8"/>
                </a:solidFill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12" name="Shape1_20220512_134702">
            <a:extLst>
              <a:ext uri="{FF2B5EF4-FFF2-40B4-BE49-F238E27FC236}">
                <a16:creationId xmlns:a16="http://schemas.microsoft.com/office/drawing/2014/main" id="{80CD907A-E4E1-ADB6-3E93-C28C72A2B593}"/>
              </a:ext>
            </a:extLst>
          </p:cNvPr>
          <p:cNvSpPr/>
          <p:nvPr/>
        </p:nvSpPr>
        <p:spPr>
          <a:xfrm>
            <a:off x="4423156" y="1299482"/>
            <a:ext cx="3352935" cy="6037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71" b="1" dirty="0">
                <a:solidFill>
                  <a:srgbClr val="F8F8F8"/>
                </a:solidFill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21" name="Shape1_20220512_134702">
            <a:extLst>
              <a:ext uri="{FF2B5EF4-FFF2-40B4-BE49-F238E27FC236}">
                <a16:creationId xmlns:a16="http://schemas.microsoft.com/office/drawing/2014/main" id="{1332E149-7659-AB4F-0C98-630435081EE6}"/>
              </a:ext>
            </a:extLst>
          </p:cNvPr>
          <p:cNvSpPr/>
          <p:nvPr/>
        </p:nvSpPr>
        <p:spPr>
          <a:xfrm>
            <a:off x="8003133" y="1299482"/>
            <a:ext cx="3352935" cy="6037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71" b="1" dirty="0">
                <a:solidFill>
                  <a:srgbClr val="F8F8F8"/>
                </a:solidFill>
                <a:cs typeface="Arial" panose="020B0604020202020204" pitchFamily="34" charset="0"/>
              </a:rPr>
              <a:t>Text</a:t>
            </a:r>
          </a:p>
        </p:txBody>
      </p:sp>
      <p:cxnSp>
        <p:nvCxnSpPr>
          <p:cNvPr id="24" name="Shape0_20210625_174740">
            <a:extLst>
              <a:ext uri="{FF2B5EF4-FFF2-40B4-BE49-F238E27FC236}">
                <a16:creationId xmlns:a16="http://schemas.microsoft.com/office/drawing/2014/main" id="{AFF5D7EC-DEE1-FEBB-9F85-95FFFEAF6882}"/>
              </a:ext>
            </a:extLst>
          </p:cNvPr>
          <p:cNvCxnSpPr>
            <a:cxnSpLocks/>
          </p:cNvCxnSpPr>
          <p:nvPr/>
        </p:nvCxnSpPr>
        <p:spPr>
          <a:xfrm>
            <a:off x="7874314" y="2176410"/>
            <a:ext cx="0" cy="414734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oup 26">
            <a:extLst>
              <a:ext uri="{FF2B5EF4-FFF2-40B4-BE49-F238E27FC236}">
                <a16:creationId xmlns:a16="http://schemas.microsoft.com/office/drawing/2014/main" id="{505CD915-3921-0387-A288-B9345B08D548}"/>
              </a:ext>
            </a:extLst>
          </p:cNvPr>
          <p:cNvGrpSpPr/>
          <p:nvPr/>
        </p:nvGrpSpPr>
        <p:grpSpPr>
          <a:xfrm>
            <a:off x="770186" y="2393581"/>
            <a:ext cx="10674450" cy="567236"/>
            <a:chOff x="770186" y="2633440"/>
            <a:chExt cx="10674450" cy="567236"/>
          </a:xfrm>
        </p:grpSpPr>
        <p:sp>
          <p:nvSpPr>
            <p:cNvPr id="10" name="Text Placeholder 3">
              <a:extLst>
                <a:ext uri="{FF2B5EF4-FFF2-40B4-BE49-F238E27FC236}">
                  <a16:creationId xmlns:a16="http://schemas.microsoft.com/office/drawing/2014/main" id="{2C294508-EB38-4F99-F289-F874CAAF397C}"/>
                </a:ext>
              </a:extLst>
            </p:cNvPr>
            <p:cNvSpPr txBox="1">
              <a:spLocks/>
            </p:cNvSpPr>
            <p:nvPr/>
          </p:nvSpPr>
          <p:spPr>
            <a:xfrm>
              <a:off x="4369510" y="2974332"/>
              <a:ext cx="3495149" cy="22634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AD1F25"/>
                </a:buClr>
                <a:buSzPts val="1400"/>
                <a:buFont typeface="Roboto Light"/>
                <a:buChar char="⪢"/>
                <a:defRPr sz="14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1pPr>
              <a:lvl2pPr marL="914400" marR="0" lvl="1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2pPr>
              <a:lvl3pPr marL="1371600" marR="0" lvl="2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3pPr>
              <a:lvl4pPr marL="1828800" marR="0" lvl="3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4pPr>
              <a:lvl5pPr marL="2286000" marR="0" lvl="4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5pPr>
              <a:lvl6pPr marL="2743200" marR="0" lvl="5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6pPr>
              <a:lvl7pPr marL="3200400" marR="0" lvl="6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7pPr>
              <a:lvl8pPr marL="3657600" marR="0" lvl="7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8pPr>
              <a:lvl9pPr marL="4114800" marR="0" lvl="8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160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9pPr>
            </a:lstStyle>
            <a:p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r>
                <a:rPr lang="en-US" sz="1471" dirty="0">
                  <a:solidFill>
                    <a:schemeClr val="tx1"/>
                  </a:solidFill>
                  <a:latin typeface="+mn-lt"/>
                  <a:cs typeface="Arial" panose="020B0604020202020204" pitchFamily="34" charset="0"/>
                </a:rPr>
                <a:t>Insert Text Here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CD3AB5F-541B-9F17-1B90-1E03522D3074}"/>
                </a:ext>
              </a:extLst>
            </p:cNvPr>
            <p:cNvSpPr>
              <a:spLocks/>
            </p:cNvSpPr>
            <p:nvPr/>
          </p:nvSpPr>
          <p:spPr>
            <a:xfrm>
              <a:off x="4369510" y="2633440"/>
              <a:ext cx="3495149" cy="22634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b" anchorCtr="0">
              <a:spAutoFit/>
            </a:bodyPr>
            <a:lstStyle/>
            <a:p>
              <a:pPr algn="ctr" defTabSz="866881">
                <a:buClr>
                  <a:srgbClr val="000000"/>
                </a:buClr>
                <a:defRPr/>
              </a:pPr>
              <a:r>
                <a:rPr lang="en-US" sz="1471" b="1" kern="0" dirty="0">
                  <a:solidFill>
                    <a:schemeClr val="tx1"/>
                  </a:solidFill>
                  <a:ea typeface="Roboto Lt" pitchFamily="2" charset="0"/>
                  <a:cs typeface="Arial" panose="020B0604020202020204" pitchFamily="34" charset="0"/>
                  <a:sym typeface="Arial"/>
                </a:rPr>
                <a:t>Title</a:t>
              </a:r>
            </a:p>
          </p:txBody>
        </p:sp>
        <p:sp>
          <p:nvSpPr>
            <p:cNvPr id="19" name="Text Placeholder 3">
              <a:extLst>
                <a:ext uri="{FF2B5EF4-FFF2-40B4-BE49-F238E27FC236}">
                  <a16:creationId xmlns:a16="http://schemas.microsoft.com/office/drawing/2014/main" id="{F56D9F59-F3FF-0B34-E0BF-30287FFA5E3F}"/>
                </a:ext>
              </a:extLst>
            </p:cNvPr>
            <p:cNvSpPr txBox="1">
              <a:spLocks/>
            </p:cNvSpPr>
            <p:nvPr/>
          </p:nvSpPr>
          <p:spPr>
            <a:xfrm>
              <a:off x="7949487" y="2974332"/>
              <a:ext cx="3495149" cy="22634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AD1F25"/>
                </a:buClr>
                <a:buSzPts val="1400"/>
                <a:buFont typeface="Roboto Light"/>
                <a:buChar char="⪢"/>
                <a:defRPr sz="14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1pPr>
              <a:lvl2pPr marL="914400" marR="0" lvl="1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2pPr>
              <a:lvl3pPr marL="1371600" marR="0" lvl="2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3pPr>
              <a:lvl4pPr marL="1828800" marR="0" lvl="3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4pPr>
              <a:lvl5pPr marL="2286000" marR="0" lvl="4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5pPr>
              <a:lvl6pPr marL="2743200" marR="0" lvl="5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6pPr>
              <a:lvl7pPr marL="3200400" marR="0" lvl="6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7pPr>
              <a:lvl8pPr marL="3657600" marR="0" lvl="7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8pPr>
              <a:lvl9pPr marL="4114800" marR="0" lvl="8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160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9pPr>
            </a:lstStyle>
            <a:p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r>
                <a:rPr lang="en-US" sz="1471" dirty="0">
                  <a:solidFill>
                    <a:schemeClr val="tx1"/>
                  </a:solidFill>
                  <a:latin typeface="+mn-lt"/>
                  <a:cs typeface="Arial" panose="020B0604020202020204" pitchFamily="34" charset="0"/>
                </a:rPr>
                <a:t>Insert Text Here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40EDDB79-F428-BC81-BCEE-A6D0DE08CFCE}"/>
                </a:ext>
              </a:extLst>
            </p:cNvPr>
            <p:cNvSpPr>
              <a:spLocks/>
            </p:cNvSpPr>
            <p:nvPr/>
          </p:nvSpPr>
          <p:spPr>
            <a:xfrm>
              <a:off x="7949487" y="2633440"/>
              <a:ext cx="3495149" cy="22634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b" anchorCtr="0">
              <a:spAutoFit/>
            </a:bodyPr>
            <a:lstStyle/>
            <a:p>
              <a:pPr algn="ctr" defTabSz="866881">
                <a:buClr>
                  <a:srgbClr val="000000"/>
                </a:buClr>
                <a:defRPr/>
              </a:pPr>
              <a:r>
                <a:rPr lang="en-US" sz="1471" b="1" kern="0" dirty="0">
                  <a:solidFill>
                    <a:schemeClr val="tx1"/>
                  </a:solidFill>
                  <a:ea typeface="Roboto Lt" pitchFamily="2" charset="0"/>
                  <a:cs typeface="Arial" panose="020B0604020202020204" pitchFamily="34" charset="0"/>
                  <a:sym typeface="Arial"/>
                </a:rPr>
                <a:t>Title</a:t>
              </a:r>
            </a:p>
          </p:txBody>
        </p:sp>
        <p:sp>
          <p:nvSpPr>
            <p:cNvPr id="25" name="Text Placeholder 3">
              <a:extLst>
                <a:ext uri="{FF2B5EF4-FFF2-40B4-BE49-F238E27FC236}">
                  <a16:creationId xmlns:a16="http://schemas.microsoft.com/office/drawing/2014/main" id="{9A24432C-1422-5CA4-D211-1D22F1E39D9D}"/>
                </a:ext>
              </a:extLst>
            </p:cNvPr>
            <p:cNvSpPr txBox="1">
              <a:spLocks/>
            </p:cNvSpPr>
            <p:nvPr/>
          </p:nvSpPr>
          <p:spPr>
            <a:xfrm>
              <a:off x="770186" y="2974332"/>
              <a:ext cx="3495149" cy="22634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AD1F25"/>
                </a:buClr>
                <a:buSzPts val="1400"/>
                <a:buFont typeface="Roboto Light"/>
                <a:buChar char="⪢"/>
                <a:defRPr sz="14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1pPr>
              <a:lvl2pPr marL="914400" marR="0" lvl="1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2pPr>
              <a:lvl3pPr marL="1371600" marR="0" lvl="2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3pPr>
              <a:lvl4pPr marL="1828800" marR="0" lvl="3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4pPr>
              <a:lvl5pPr marL="2286000" marR="0" lvl="4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5pPr>
              <a:lvl6pPr marL="2743200" marR="0" lvl="5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6pPr>
              <a:lvl7pPr marL="3200400" marR="0" lvl="6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7pPr>
              <a:lvl8pPr marL="3657600" marR="0" lvl="7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8pPr>
              <a:lvl9pPr marL="4114800" marR="0" lvl="8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160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9pPr>
            </a:lstStyle>
            <a:p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r>
                <a:rPr lang="en-US" sz="1471" dirty="0">
                  <a:solidFill>
                    <a:schemeClr val="tx1"/>
                  </a:solidFill>
                  <a:latin typeface="+mn-lt"/>
                  <a:cs typeface="Arial" panose="020B0604020202020204" pitchFamily="34" charset="0"/>
                </a:rPr>
                <a:t>Insert Text Here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488F272-77EE-A8FB-3254-C99C1B814396}"/>
                </a:ext>
              </a:extLst>
            </p:cNvPr>
            <p:cNvSpPr>
              <a:spLocks/>
            </p:cNvSpPr>
            <p:nvPr/>
          </p:nvSpPr>
          <p:spPr>
            <a:xfrm>
              <a:off x="770186" y="2633440"/>
              <a:ext cx="3495149" cy="22634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b" anchorCtr="0">
              <a:spAutoFit/>
            </a:bodyPr>
            <a:lstStyle/>
            <a:p>
              <a:pPr algn="ctr" defTabSz="866881">
                <a:buClr>
                  <a:srgbClr val="000000"/>
                </a:buClr>
                <a:defRPr/>
              </a:pPr>
              <a:r>
                <a:rPr lang="en-US" sz="1471" b="1" kern="0" dirty="0">
                  <a:solidFill>
                    <a:schemeClr val="tx1"/>
                  </a:solidFill>
                  <a:ea typeface="Roboto Lt" pitchFamily="2" charset="0"/>
                  <a:cs typeface="Arial" panose="020B0604020202020204" pitchFamily="34" charset="0"/>
                  <a:sym typeface="Arial"/>
                </a:rPr>
                <a:t>Tit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138104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85</TotalTime>
  <Words>17</Words>
  <Application>Microsoft Office PowerPoint</Application>
  <PresentationFormat>Widescreen</PresentationFormat>
  <Paragraphs>1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ptos</vt:lpstr>
      <vt:lpstr>Arial</vt:lpstr>
      <vt:lpstr>Calibri</vt:lpstr>
      <vt:lpstr>Georgia</vt:lpstr>
      <vt:lpstr>Roboto Lt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23</cp:revision>
  <dcterms:created xsi:type="dcterms:W3CDTF">2025-07-09T10:57:17Z</dcterms:created>
  <dcterms:modified xsi:type="dcterms:W3CDTF">2025-10-22T09:38:15Z</dcterms:modified>
  <cp:category/>
</cp:coreProperties>
</file>